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11" r:id="rId6"/>
    <p:sldId id="2147377212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366"/>
    <a:srgbClr val="E6E7E9"/>
    <a:srgbClr val="D1D2D4"/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39" autoAdjust="0"/>
    <p:restoredTop sz="96134" autoAdjust="0"/>
  </p:normalViewPr>
  <p:slideViewPr>
    <p:cSldViewPr snapToGrid="0">
      <p:cViewPr>
        <p:scale>
          <a:sx n="100" d="100"/>
          <a:sy n="100" d="100"/>
        </p:scale>
        <p:origin x="304" y="-7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2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hyperlink" Target="https://www.vr-view.jp/nissay/tenjin-brick-cross/final/" TargetMode="Externa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hyperlink" Target="https://www.vr-view.jp/nissay/tenjin-brick-cross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469060"/>
              </p:ext>
            </p:extLst>
          </p:nvPr>
        </p:nvGraphicFramePr>
        <p:xfrm>
          <a:off x="2530143" y="3229076"/>
          <a:ext cx="2210401" cy="7335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福岡県福岡市中央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神一丁目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番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37359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地下鉄空港線「天神」駅地下直結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787516"/>
              </p:ext>
            </p:extLst>
          </p:nvPr>
        </p:nvGraphicFramePr>
        <p:xfrm>
          <a:off x="219000" y="4423922"/>
          <a:ext cx="2660725" cy="2131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9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2053734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69998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8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1,207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5/0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本生命保険・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井高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8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OA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駐車場：機械式７３台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床耐荷重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㎏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DZ 1,000gk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370178"/>
              </p:ext>
            </p:extLst>
          </p:nvPr>
        </p:nvGraphicFramePr>
        <p:xfrm>
          <a:off x="5220408" y="1418509"/>
          <a:ext cx="4241457" cy="2450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735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86559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538478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632712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467411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1432562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2.7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8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.4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7.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０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8.8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60.7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6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83.3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５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1.5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70.3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６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23918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７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15169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８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55115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092256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679469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市中央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天神ブリッククロス　北棟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975C8CB6-B319-00CF-DD65-A27AC5184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37" y="1392456"/>
            <a:ext cx="1756560" cy="2664807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E33B4C86-D816-D00F-452F-19E3501B0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2657" y="1392456"/>
            <a:ext cx="1985371" cy="1771611"/>
          </a:xfrm>
          <a:prstGeom prst="rect">
            <a:avLst/>
          </a:prstGeom>
        </p:spPr>
      </p:pic>
      <p:pic>
        <p:nvPicPr>
          <p:cNvPr id="12" name="図 11">
            <a:hlinkClick r:id="rId5"/>
            <a:extLst>
              <a:ext uri="{FF2B5EF4-FFF2-40B4-BE49-F238E27FC236}">
                <a16:creationId xmlns:a16="http://schemas.microsoft.com/office/drawing/2014/main" id="{5A63CE01-2D42-51D1-8FB9-B8E666D97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0408" y="4715282"/>
            <a:ext cx="4312951" cy="1278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35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766554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■福岡県■福岡市中央区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株式会社　大林組</a:t>
            </a:r>
            <a:r>
              <a:rPr kumimoji="1" lang="en-US" altLang="ja-JP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		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開発事業本部　開発推進部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TEL 03 (5769) 1223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レイアウト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天神ブリッククロス　北棟</a:t>
            </a:r>
          </a:p>
        </p:txBody>
      </p:sp>
      <p:pic>
        <p:nvPicPr>
          <p:cNvPr id="7" name="図 6" descr="ダイアグラム, 設計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31CF40EF-7169-CF62-D773-0A65E67DD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277" y="1887757"/>
            <a:ext cx="5410200" cy="4267200"/>
          </a:xfrm>
          <a:prstGeom prst="rect">
            <a:avLst/>
          </a:prstGeom>
        </p:spPr>
      </p:pic>
      <p:pic>
        <p:nvPicPr>
          <p:cNvPr id="4" name="図 3">
            <a:hlinkClick r:id="rId4"/>
            <a:extLst>
              <a:ext uri="{FF2B5EF4-FFF2-40B4-BE49-F238E27FC236}">
                <a16:creationId xmlns:a16="http://schemas.microsoft.com/office/drawing/2014/main" id="{4C766CD7-E3FA-E0D9-F160-BBCF850D14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6012" y="1818412"/>
            <a:ext cx="2653588" cy="78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15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08</TotalTime>
  <Words>195</Words>
  <Application>Microsoft Office PowerPoint</Application>
  <PresentationFormat>A4 210 x 297 mm</PresentationFormat>
  <Paragraphs>8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游ゴシック</vt:lpstr>
      <vt:lpstr>游ゴシック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6</cp:revision>
  <cp:lastPrinted>2025-12-11T07:44:19Z</cp:lastPrinted>
  <dcterms:created xsi:type="dcterms:W3CDTF">2023-10-06T04:57:11Z</dcterms:created>
  <dcterms:modified xsi:type="dcterms:W3CDTF">2026-02-18T06:5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